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2" r:id="rId4"/>
  </p:sldMasterIdLst>
  <p:notesMasterIdLst>
    <p:notesMasterId r:id="rId16"/>
  </p:notesMasterIdLst>
  <p:handoutMasterIdLst>
    <p:handoutMasterId r:id="rId17"/>
  </p:handoutMasterIdLst>
  <p:sldIdLst>
    <p:sldId id="289" r:id="rId5"/>
    <p:sldId id="264" r:id="rId6"/>
    <p:sldId id="265" r:id="rId7"/>
    <p:sldId id="266" r:id="rId8"/>
    <p:sldId id="267" r:id="rId9"/>
    <p:sldId id="268" r:id="rId10"/>
    <p:sldId id="288" r:id="rId11"/>
    <p:sldId id="290" r:id="rId12"/>
    <p:sldId id="291" r:id="rId13"/>
    <p:sldId id="270" r:id="rId14"/>
    <p:sldId id="271" r:id="rId15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738">
          <p15:clr>
            <a:srgbClr val="A4A3A4"/>
          </p15:clr>
        </p15:guide>
        <p15:guide id="2" pos="109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rivastava, Vaishali" initials="SV" lastIdx="1" clrIdx="0">
    <p:extLst>
      <p:ext uri="{19B8F6BF-5375-455C-9EA6-DF929625EA0E}">
        <p15:presenceInfo xmlns:p15="http://schemas.microsoft.com/office/powerpoint/2012/main" userId="S-1-5-21-1531082355-734649621-3782574898-229995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70AD"/>
    <a:srgbClr val="5044E6"/>
    <a:srgbClr val="00A1E4"/>
    <a:srgbClr val="E6E8F2"/>
    <a:srgbClr val="D0D4E8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 autoAdjust="0"/>
    <p:restoredTop sz="94610" autoAdjust="0"/>
  </p:normalViewPr>
  <p:slideViewPr>
    <p:cSldViewPr>
      <p:cViewPr varScale="1">
        <p:scale>
          <a:sx n="76" d="100"/>
          <a:sy n="76" d="100"/>
        </p:scale>
        <p:origin x="1000" y="4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>
        <p:scale>
          <a:sx n="80" d="100"/>
          <a:sy n="80" d="100"/>
        </p:scale>
        <p:origin x="-1848" y="-72"/>
      </p:cViewPr>
      <p:guideLst>
        <p:guide orient="horz" pos="2738"/>
        <p:guide pos="109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B3B2B40-60BD-4DBE-BE11-4E2405C01C7B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19F5819-C1A8-440C-9B0B-1A61C2E3353C}">
      <dgm:prSet phldrT="[Text]"/>
      <dgm:spPr/>
      <dgm:t>
        <a:bodyPr/>
        <a:lstStyle/>
        <a:p>
          <a:r>
            <a:rPr lang="en-US" dirty="0" smtClean="0"/>
            <a:t>Spring Boot Miroservice</a:t>
          </a:r>
          <a:endParaRPr lang="en-US" dirty="0"/>
        </a:p>
      </dgm:t>
    </dgm:pt>
    <dgm:pt modelId="{B31C79EA-5E0E-4034-B819-3C486DBF9A07}" type="parTrans" cxnId="{10EA7404-D9CF-4927-9C45-0282635261B2}">
      <dgm:prSet/>
      <dgm:spPr/>
      <dgm:t>
        <a:bodyPr/>
        <a:lstStyle/>
        <a:p>
          <a:endParaRPr lang="en-US"/>
        </a:p>
      </dgm:t>
    </dgm:pt>
    <dgm:pt modelId="{F9D3BBEB-A74A-4195-A624-4D695E4279EB}" type="sibTrans" cxnId="{10EA7404-D9CF-4927-9C45-0282635261B2}">
      <dgm:prSet/>
      <dgm:spPr/>
      <dgm:t>
        <a:bodyPr/>
        <a:lstStyle/>
        <a:p>
          <a:endParaRPr lang="en-US"/>
        </a:p>
      </dgm:t>
    </dgm:pt>
    <dgm:pt modelId="{DD88B086-E9F2-4F03-A0E7-01287FA17BE1}">
      <dgm:prSet phldrT="[Text]"/>
      <dgm:spPr/>
      <dgm:t>
        <a:bodyPr/>
        <a:lstStyle/>
        <a:p>
          <a:r>
            <a:rPr lang="en-US" dirty="0" smtClean="0"/>
            <a:t>Docker</a:t>
          </a:r>
          <a:endParaRPr lang="en-US" dirty="0"/>
        </a:p>
      </dgm:t>
    </dgm:pt>
    <dgm:pt modelId="{75E95AB7-3E85-4F27-AA4E-A0A3BCAE2D9A}" type="parTrans" cxnId="{A71F57C2-048B-41D5-89D7-608CB8691181}">
      <dgm:prSet/>
      <dgm:spPr/>
      <dgm:t>
        <a:bodyPr/>
        <a:lstStyle/>
        <a:p>
          <a:endParaRPr lang="en-US"/>
        </a:p>
      </dgm:t>
    </dgm:pt>
    <dgm:pt modelId="{692EF995-8EBE-431B-A356-49A35677539C}" type="sibTrans" cxnId="{A71F57C2-048B-41D5-89D7-608CB8691181}">
      <dgm:prSet/>
      <dgm:spPr/>
      <dgm:t>
        <a:bodyPr/>
        <a:lstStyle/>
        <a:p>
          <a:endParaRPr lang="en-US"/>
        </a:p>
      </dgm:t>
    </dgm:pt>
    <dgm:pt modelId="{F7AA114C-56FC-4FED-B247-012C7189FB2F}">
      <dgm:prSet phldrT="[Text]"/>
      <dgm:spPr/>
      <dgm:t>
        <a:bodyPr/>
        <a:lstStyle/>
        <a:p>
          <a:r>
            <a:rPr lang="en-US" dirty="0" smtClean="0"/>
            <a:t>GCP/AWS</a:t>
          </a:r>
          <a:endParaRPr lang="en-US" dirty="0"/>
        </a:p>
      </dgm:t>
    </dgm:pt>
    <dgm:pt modelId="{ED6E82F3-A2D1-4585-9CEF-7E16CDF8F07D}" type="parTrans" cxnId="{481B12B3-9EEE-42A8-8536-AC95A7DE3325}">
      <dgm:prSet/>
      <dgm:spPr/>
      <dgm:t>
        <a:bodyPr/>
        <a:lstStyle/>
        <a:p>
          <a:endParaRPr lang="en-US"/>
        </a:p>
      </dgm:t>
    </dgm:pt>
    <dgm:pt modelId="{77CFF981-6A8F-4C73-BC63-82A4DB87EF38}" type="sibTrans" cxnId="{481B12B3-9EEE-42A8-8536-AC95A7DE3325}">
      <dgm:prSet/>
      <dgm:spPr/>
      <dgm:t>
        <a:bodyPr/>
        <a:lstStyle/>
        <a:p>
          <a:endParaRPr lang="en-US"/>
        </a:p>
      </dgm:t>
    </dgm:pt>
    <dgm:pt modelId="{D326F6C5-4135-41B6-8A01-11CC62FBEABC}" type="pres">
      <dgm:prSet presAssocID="{9B3B2B40-60BD-4DBE-BE11-4E2405C01C7B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8573E33-2E7B-4A48-9A62-A8889A7826D9}" type="pres">
      <dgm:prSet presAssocID="{119F5819-C1A8-440C-9B0B-1A61C2E3353C}" presName="parentLin" presStyleCnt="0"/>
      <dgm:spPr/>
    </dgm:pt>
    <dgm:pt modelId="{CE29EBC5-E79E-4D3B-971C-9B13BF0D0C9E}" type="pres">
      <dgm:prSet presAssocID="{119F5819-C1A8-440C-9B0B-1A61C2E3353C}" presName="parentLeftMargin" presStyleLbl="node1" presStyleIdx="0" presStyleCnt="3"/>
      <dgm:spPr/>
      <dgm:t>
        <a:bodyPr/>
        <a:lstStyle/>
        <a:p>
          <a:endParaRPr lang="en-US"/>
        </a:p>
      </dgm:t>
    </dgm:pt>
    <dgm:pt modelId="{DEE70723-6243-40D5-8B03-6B59328746CC}" type="pres">
      <dgm:prSet presAssocID="{119F5819-C1A8-440C-9B0B-1A61C2E3353C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1136E72-E907-4327-83B7-35617C21C538}" type="pres">
      <dgm:prSet presAssocID="{119F5819-C1A8-440C-9B0B-1A61C2E3353C}" presName="negativeSpace" presStyleCnt="0"/>
      <dgm:spPr/>
    </dgm:pt>
    <dgm:pt modelId="{A352E7B4-F91E-4E8B-ABCA-E6062E9D5A87}" type="pres">
      <dgm:prSet presAssocID="{119F5819-C1A8-440C-9B0B-1A61C2E3353C}" presName="childText" presStyleLbl="conFgAcc1" presStyleIdx="0" presStyleCnt="3">
        <dgm:presLayoutVars>
          <dgm:bulletEnabled val="1"/>
        </dgm:presLayoutVars>
      </dgm:prSet>
      <dgm:spPr/>
    </dgm:pt>
    <dgm:pt modelId="{6D16F91A-2C30-46FB-9957-3687A2509C8D}" type="pres">
      <dgm:prSet presAssocID="{F9D3BBEB-A74A-4195-A624-4D695E4279EB}" presName="spaceBetweenRectangles" presStyleCnt="0"/>
      <dgm:spPr/>
    </dgm:pt>
    <dgm:pt modelId="{D62C7C9C-C97D-44A9-8304-186FA2D4602A}" type="pres">
      <dgm:prSet presAssocID="{DD88B086-E9F2-4F03-A0E7-01287FA17BE1}" presName="parentLin" presStyleCnt="0"/>
      <dgm:spPr/>
    </dgm:pt>
    <dgm:pt modelId="{9065CBCA-97B0-4CD7-AB3B-1A59DE0B13DF}" type="pres">
      <dgm:prSet presAssocID="{DD88B086-E9F2-4F03-A0E7-01287FA17BE1}" presName="parentLeftMargin" presStyleLbl="node1" presStyleIdx="0" presStyleCnt="3"/>
      <dgm:spPr/>
      <dgm:t>
        <a:bodyPr/>
        <a:lstStyle/>
        <a:p>
          <a:endParaRPr lang="en-US"/>
        </a:p>
      </dgm:t>
    </dgm:pt>
    <dgm:pt modelId="{773F6F9D-AFDA-48DB-B1FA-A1022A75FE35}" type="pres">
      <dgm:prSet presAssocID="{DD88B086-E9F2-4F03-A0E7-01287FA17BE1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1756907-FC66-4823-AA7F-B5A3F5B855E9}" type="pres">
      <dgm:prSet presAssocID="{DD88B086-E9F2-4F03-A0E7-01287FA17BE1}" presName="negativeSpace" presStyleCnt="0"/>
      <dgm:spPr/>
    </dgm:pt>
    <dgm:pt modelId="{6E28BF9C-16F9-4818-83CA-8F99BC77ECD7}" type="pres">
      <dgm:prSet presAssocID="{DD88B086-E9F2-4F03-A0E7-01287FA17BE1}" presName="childText" presStyleLbl="conFgAcc1" presStyleIdx="1" presStyleCnt="3">
        <dgm:presLayoutVars>
          <dgm:bulletEnabled val="1"/>
        </dgm:presLayoutVars>
      </dgm:prSet>
      <dgm:spPr/>
    </dgm:pt>
    <dgm:pt modelId="{514F1FAB-61A2-4AB3-9904-8A822FDC7C80}" type="pres">
      <dgm:prSet presAssocID="{692EF995-8EBE-431B-A356-49A35677539C}" presName="spaceBetweenRectangles" presStyleCnt="0"/>
      <dgm:spPr/>
    </dgm:pt>
    <dgm:pt modelId="{6EAA4E18-2056-4D88-A268-3DDB86B1BF6C}" type="pres">
      <dgm:prSet presAssocID="{F7AA114C-56FC-4FED-B247-012C7189FB2F}" presName="parentLin" presStyleCnt="0"/>
      <dgm:spPr/>
    </dgm:pt>
    <dgm:pt modelId="{6A4D6FC8-4B31-47F4-8321-EF5B9C0FD717}" type="pres">
      <dgm:prSet presAssocID="{F7AA114C-56FC-4FED-B247-012C7189FB2F}" presName="parentLeftMargin" presStyleLbl="node1" presStyleIdx="1" presStyleCnt="3"/>
      <dgm:spPr/>
      <dgm:t>
        <a:bodyPr/>
        <a:lstStyle/>
        <a:p>
          <a:endParaRPr lang="en-US"/>
        </a:p>
      </dgm:t>
    </dgm:pt>
    <dgm:pt modelId="{EDF27D7D-0BFA-48D4-A69D-8B8CC3A0D9A9}" type="pres">
      <dgm:prSet presAssocID="{F7AA114C-56FC-4FED-B247-012C7189FB2F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4919F86-A26D-4BEA-AD91-D308FB38D299}" type="pres">
      <dgm:prSet presAssocID="{F7AA114C-56FC-4FED-B247-012C7189FB2F}" presName="negativeSpace" presStyleCnt="0"/>
      <dgm:spPr/>
    </dgm:pt>
    <dgm:pt modelId="{B537DE72-BD87-45E3-B29B-348B799B9857}" type="pres">
      <dgm:prSet presAssocID="{F7AA114C-56FC-4FED-B247-012C7189FB2F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9A88B7CB-E705-40FC-9D7E-6E00A395BEF5}" type="presOf" srcId="{119F5819-C1A8-440C-9B0B-1A61C2E3353C}" destId="{CE29EBC5-E79E-4D3B-971C-9B13BF0D0C9E}" srcOrd="0" destOrd="0" presId="urn:microsoft.com/office/officeart/2005/8/layout/list1"/>
    <dgm:cxn modelId="{615B992A-36EF-4E6F-A6E9-1BABA9B0B078}" type="presOf" srcId="{F7AA114C-56FC-4FED-B247-012C7189FB2F}" destId="{6A4D6FC8-4B31-47F4-8321-EF5B9C0FD717}" srcOrd="0" destOrd="0" presId="urn:microsoft.com/office/officeart/2005/8/layout/list1"/>
    <dgm:cxn modelId="{A71F57C2-048B-41D5-89D7-608CB8691181}" srcId="{9B3B2B40-60BD-4DBE-BE11-4E2405C01C7B}" destId="{DD88B086-E9F2-4F03-A0E7-01287FA17BE1}" srcOrd="1" destOrd="0" parTransId="{75E95AB7-3E85-4F27-AA4E-A0A3BCAE2D9A}" sibTransId="{692EF995-8EBE-431B-A356-49A35677539C}"/>
    <dgm:cxn modelId="{481B12B3-9EEE-42A8-8536-AC95A7DE3325}" srcId="{9B3B2B40-60BD-4DBE-BE11-4E2405C01C7B}" destId="{F7AA114C-56FC-4FED-B247-012C7189FB2F}" srcOrd="2" destOrd="0" parTransId="{ED6E82F3-A2D1-4585-9CEF-7E16CDF8F07D}" sibTransId="{77CFF981-6A8F-4C73-BC63-82A4DB87EF38}"/>
    <dgm:cxn modelId="{10EA7404-D9CF-4927-9C45-0282635261B2}" srcId="{9B3B2B40-60BD-4DBE-BE11-4E2405C01C7B}" destId="{119F5819-C1A8-440C-9B0B-1A61C2E3353C}" srcOrd="0" destOrd="0" parTransId="{B31C79EA-5E0E-4034-B819-3C486DBF9A07}" sibTransId="{F9D3BBEB-A74A-4195-A624-4D695E4279EB}"/>
    <dgm:cxn modelId="{4608A0E4-E25F-4A35-873C-487A48E87776}" type="presOf" srcId="{F7AA114C-56FC-4FED-B247-012C7189FB2F}" destId="{EDF27D7D-0BFA-48D4-A69D-8B8CC3A0D9A9}" srcOrd="1" destOrd="0" presId="urn:microsoft.com/office/officeart/2005/8/layout/list1"/>
    <dgm:cxn modelId="{99F0C780-EED2-4FF7-BC7A-8BEF3CBF634B}" type="presOf" srcId="{119F5819-C1A8-440C-9B0B-1A61C2E3353C}" destId="{DEE70723-6243-40D5-8B03-6B59328746CC}" srcOrd="1" destOrd="0" presId="urn:microsoft.com/office/officeart/2005/8/layout/list1"/>
    <dgm:cxn modelId="{7B5AE0C2-0262-40C4-ACE9-26F1D044D31F}" type="presOf" srcId="{9B3B2B40-60BD-4DBE-BE11-4E2405C01C7B}" destId="{D326F6C5-4135-41B6-8A01-11CC62FBEABC}" srcOrd="0" destOrd="0" presId="urn:microsoft.com/office/officeart/2005/8/layout/list1"/>
    <dgm:cxn modelId="{B2CC1B07-F7F7-431B-A226-8DFB15237FC3}" type="presOf" srcId="{DD88B086-E9F2-4F03-A0E7-01287FA17BE1}" destId="{773F6F9D-AFDA-48DB-B1FA-A1022A75FE35}" srcOrd="1" destOrd="0" presId="urn:microsoft.com/office/officeart/2005/8/layout/list1"/>
    <dgm:cxn modelId="{A22F0E3A-F05C-4006-B0B7-1A45AFF254A5}" type="presOf" srcId="{DD88B086-E9F2-4F03-A0E7-01287FA17BE1}" destId="{9065CBCA-97B0-4CD7-AB3B-1A59DE0B13DF}" srcOrd="0" destOrd="0" presId="urn:microsoft.com/office/officeart/2005/8/layout/list1"/>
    <dgm:cxn modelId="{962FFC69-8389-4A1F-AB60-9CD20FEB182D}" type="presParOf" srcId="{D326F6C5-4135-41B6-8A01-11CC62FBEABC}" destId="{D8573E33-2E7B-4A48-9A62-A8889A7826D9}" srcOrd="0" destOrd="0" presId="urn:microsoft.com/office/officeart/2005/8/layout/list1"/>
    <dgm:cxn modelId="{2AE50BA4-EA18-430D-B5B9-7FF1BE566C85}" type="presParOf" srcId="{D8573E33-2E7B-4A48-9A62-A8889A7826D9}" destId="{CE29EBC5-E79E-4D3B-971C-9B13BF0D0C9E}" srcOrd="0" destOrd="0" presId="urn:microsoft.com/office/officeart/2005/8/layout/list1"/>
    <dgm:cxn modelId="{51EBB771-734A-47C7-8C5F-A4D2A99ED56A}" type="presParOf" srcId="{D8573E33-2E7B-4A48-9A62-A8889A7826D9}" destId="{DEE70723-6243-40D5-8B03-6B59328746CC}" srcOrd="1" destOrd="0" presId="urn:microsoft.com/office/officeart/2005/8/layout/list1"/>
    <dgm:cxn modelId="{0AB8F275-D3CF-46B0-A4CC-7DF1CBF011DD}" type="presParOf" srcId="{D326F6C5-4135-41B6-8A01-11CC62FBEABC}" destId="{31136E72-E907-4327-83B7-35617C21C538}" srcOrd="1" destOrd="0" presId="urn:microsoft.com/office/officeart/2005/8/layout/list1"/>
    <dgm:cxn modelId="{8735C448-D557-41BE-9985-5F0228878780}" type="presParOf" srcId="{D326F6C5-4135-41B6-8A01-11CC62FBEABC}" destId="{A352E7B4-F91E-4E8B-ABCA-E6062E9D5A87}" srcOrd="2" destOrd="0" presId="urn:microsoft.com/office/officeart/2005/8/layout/list1"/>
    <dgm:cxn modelId="{DF9E49D2-54F8-4568-942D-27D7D24397B9}" type="presParOf" srcId="{D326F6C5-4135-41B6-8A01-11CC62FBEABC}" destId="{6D16F91A-2C30-46FB-9957-3687A2509C8D}" srcOrd="3" destOrd="0" presId="urn:microsoft.com/office/officeart/2005/8/layout/list1"/>
    <dgm:cxn modelId="{00DC1717-D852-4130-945E-A687753820A7}" type="presParOf" srcId="{D326F6C5-4135-41B6-8A01-11CC62FBEABC}" destId="{D62C7C9C-C97D-44A9-8304-186FA2D4602A}" srcOrd="4" destOrd="0" presId="urn:microsoft.com/office/officeart/2005/8/layout/list1"/>
    <dgm:cxn modelId="{A8218C9D-C251-481B-A4FC-479FA3B82D09}" type="presParOf" srcId="{D62C7C9C-C97D-44A9-8304-186FA2D4602A}" destId="{9065CBCA-97B0-4CD7-AB3B-1A59DE0B13DF}" srcOrd="0" destOrd="0" presId="urn:microsoft.com/office/officeart/2005/8/layout/list1"/>
    <dgm:cxn modelId="{CAA5DFF9-6078-4EEE-98A5-8AB66B1709D4}" type="presParOf" srcId="{D62C7C9C-C97D-44A9-8304-186FA2D4602A}" destId="{773F6F9D-AFDA-48DB-B1FA-A1022A75FE35}" srcOrd="1" destOrd="0" presId="urn:microsoft.com/office/officeart/2005/8/layout/list1"/>
    <dgm:cxn modelId="{E905E42F-2A64-4993-8C98-0C3FBFA7D885}" type="presParOf" srcId="{D326F6C5-4135-41B6-8A01-11CC62FBEABC}" destId="{81756907-FC66-4823-AA7F-B5A3F5B855E9}" srcOrd="5" destOrd="0" presId="urn:microsoft.com/office/officeart/2005/8/layout/list1"/>
    <dgm:cxn modelId="{F8B47DC9-DD7A-46E5-95F5-B7AE964F6213}" type="presParOf" srcId="{D326F6C5-4135-41B6-8A01-11CC62FBEABC}" destId="{6E28BF9C-16F9-4818-83CA-8F99BC77ECD7}" srcOrd="6" destOrd="0" presId="urn:microsoft.com/office/officeart/2005/8/layout/list1"/>
    <dgm:cxn modelId="{53EB09C1-B2AE-4980-82A6-8D924E2000A6}" type="presParOf" srcId="{D326F6C5-4135-41B6-8A01-11CC62FBEABC}" destId="{514F1FAB-61A2-4AB3-9904-8A822FDC7C80}" srcOrd="7" destOrd="0" presId="urn:microsoft.com/office/officeart/2005/8/layout/list1"/>
    <dgm:cxn modelId="{5087546B-59BA-4FE3-9E73-4D8FDD52FA17}" type="presParOf" srcId="{D326F6C5-4135-41B6-8A01-11CC62FBEABC}" destId="{6EAA4E18-2056-4D88-A268-3DDB86B1BF6C}" srcOrd="8" destOrd="0" presId="urn:microsoft.com/office/officeart/2005/8/layout/list1"/>
    <dgm:cxn modelId="{65C79788-14FF-4DAB-B01A-8B6A74A38082}" type="presParOf" srcId="{6EAA4E18-2056-4D88-A268-3DDB86B1BF6C}" destId="{6A4D6FC8-4B31-47F4-8321-EF5B9C0FD717}" srcOrd="0" destOrd="0" presId="urn:microsoft.com/office/officeart/2005/8/layout/list1"/>
    <dgm:cxn modelId="{8FEB555C-7068-43B7-AD32-7E53D597257C}" type="presParOf" srcId="{6EAA4E18-2056-4D88-A268-3DDB86B1BF6C}" destId="{EDF27D7D-0BFA-48D4-A69D-8B8CC3A0D9A9}" srcOrd="1" destOrd="0" presId="urn:microsoft.com/office/officeart/2005/8/layout/list1"/>
    <dgm:cxn modelId="{1D669FB0-8AA6-4DF3-966E-5142D02A77C1}" type="presParOf" srcId="{D326F6C5-4135-41B6-8A01-11CC62FBEABC}" destId="{84919F86-A26D-4BEA-AD91-D308FB38D299}" srcOrd="9" destOrd="0" presId="urn:microsoft.com/office/officeart/2005/8/layout/list1"/>
    <dgm:cxn modelId="{7C68B14D-E31B-42D8-8D6F-C8EB28E82DB7}" type="presParOf" srcId="{D326F6C5-4135-41B6-8A01-11CC62FBEABC}" destId="{B537DE72-BD87-45E3-B29B-348B799B9857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352E7B4-F91E-4E8B-ABCA-E6062E9D5A87}">
      <dsp:nvSpPr>
        <dsp:cNvPr id="0" name=""/>
        <dsp:cNvSpPr/>
      </dsp:nvSpPr>
      <dsp:spPr>
        <a:xfrm>
          <a:off x="0" y="772826"/>
          <a:ext cx="6096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EE70723-6243-40D5-8B03-6B59328746CC}">
      <dsp:nvSpPr>
        <dsp:cNvPr id="0" name=""/>
        <dsp:cNvSpPr/>
      </dsp:nvSpPr>
      <dsp:spPr>
        <a:xfrm>
          <a:off x="304800" y="403826"/>
          <a:ext cx="42672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/>
            <a:t>Spring Boot Miroservice</a:t>
          </a:r>
          <a:endParaRPr lang="en-US" sz="2500" kern="1200" dirty="0"/>
        </a:p>
      </dsp:txBody>
      <dsp:txXfrm>
        <a:off x="340826" y="439852"/>
        <a:ext cx="4195148" cy="665948"/>
      </dsp:txXfrm>
    </dsp:sp>
    <dsp:sp modelId="{6E28BF9C-16F9-4818-83CA-8F99BC77ECD7}">
      <dsp:nvSpPr>
        <dsp:cNvPr id="0" name=""/>
        <dsp:cNvSpPr/>
      </dsp:nvSpPr>
      <dsp:spPr>
        <a:xfrm>
          <a:off x="0" y="1906826"/>
          <a:ext cx="6096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73F6F9D-AFDA-48DB-B1FA-A1022A75FE35}">
      <dsp:nvSpPr>
        <dsp:cNvPr id="0" name=""/>
        <dsp:cNvSpPr/>
      </dsp:nvSpPr>
      <dsp:spPr>
        <a:xfrm>
          <a:off x="304800" y="1537826"/>
          <a:ext cx="42672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/>
            <a:t>Docker</a:t>
          </a:r>
          <a:endParaRPr lang="en-US" sz="2500" kern="1200" dirty="0"/>
        </a:p>
      </dsp:txBody>
      <dsp:txXfrm>
        <a:off x="340826" y="1573852"/>
        <a:ext cx="4195148" cy="665948"/>
      </dsp:txXfrm>
    </dsp:sp>
    <dsp:sp modelId="{B537DE72-BD87-45E3-B29B-348B799B9857}">
      <dsp:nvSpPr>
        <dsp:cNvPr id="0" name=""/>
        <dsp:cNvSpPr/>
      </dsp:nvSpPr>
      <dsp:spPr>
        <a:xfrm>
          <a:off x="0" y="3040826"/>
          <a:ext cx="6096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DF27D7D-0BFA-48D4-A69D-8B8CC3A0D9A9}">
      <dsp:nvSpPr>
        <dsp:cNvPr id="0" name=""/>
        <dsp:cNvSpPr/>
      </dsp:nvSpPr>
      <dsp:spPr>
        <a:xfrm>
          <a:off x="304800" y="2671826"/>
          <a:ext cx="42672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/>
            <a:t>GCP/AWS</a:t>
          </a:r>
          <a:endParaRPr lang="en-US" sz="2500" kern="1200" dirty="0"/>
        </a:p>
      </dsp:txBody>
      <dsp:txXfrm>
        <a:off x="340826" y="2707852"/>
        <a:ext cx="4195148" cy="66594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8F45B8CD-F359-4D94-8AD1-923710D8C70B}" type="datetimeFigureOut">
              <a:rPr lang="en-US" smtClean="0"/>
              <a:pPr/>
              <a:t>3/7/2021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F135FA1E-2594-4534-BDDE-F96DBDDC820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9470845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744663" y="449263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737361" y="4347210"/>
            <a:ext cx="4815860" cy="4278895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228576" y="74977"/>
            <a:ext cx="6934201" cy="325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re Java 8  and Development Tools		</a:t>
            </a:r>
            <a:endParaRPr lang="en-US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3580791" y="8639633"/>
            <a:ext cx="2946699" cy="3194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		Page 00-</a:t>
            </a:r>
            <a:fld id="{BD9FB300-F9DC-4669-88F4-967ABA23CC04}" type="slidenum">
              <a:rPr lang="en-US" sz="1100" smtClean="0">
                <a:latin typeface="Arial" pitchFamily="34" charset="0"/>
                <a:cs typeface="Arial" pitchFamily="34" charset="0"/>
              </a:rPr>
              <a:pPr marL="0" marR="0" indent="0" algn="l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506961" y="375016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715876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991687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466247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77915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591829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787163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1718149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8058462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175862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384181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9649880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:a16="http://schemas.microsoft.com/office/drawing/2014/main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</a:t>
            </a:r>
            <a:r>
              <a:rPr lang="en-US" sz="600" dirty="0" smtClean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2013 </a:t>
            </a:r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7224438"/>
      </p:ext>
    </p:extLst>
  </p:cSld>
  <p:clrMapOvr>
    <a:masterClrMapping/>
  </p:clrMapOvr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85545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4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21756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646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0584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700006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:a16="http://schemas.microsoft.com/office/drawing/2014/main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5460255"/>
      </p:ext>
    </p:extLst>
  </p:cSld>
  <p:clrMapOvr>
    <a:masterClrMapping/>
  </p:clrMapOvr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3302093097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5701732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010892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6006867"/>
      </p:ext>
    </p:extLst>
  </p:cSld>
  <p:clrMapOvr>
    <a:masterClrMapping/>
  </p:clrMapOvr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72248747"/>
      </p:ext>
    </p:extLst>
  </p:cSld>
  <p:clrMapOvr>
    <a:masterClrMapping/>
  </p:clrMapOvr>
  <p:hf sldNum="0"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01680168"/>
      </p:ext>
    </p:extLst>
  </p:cSld>
  <p:clrMapOvr>
    <a:masterClrMapping/>
  </p:clrMapOvr>
  <p:hf sldNum="0"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</a:t>
            </a:r>
            <a:r>
              <a:rPr lang="en-US" sz="600" dirty="0" smtClean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2013 </a:t>
            </a:r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8596648"/>
      </p:ext>
    </p:extLst>
  </p:cSld>
  <p:clrMapOvr>
    <a:masterClrMapping/>
  </p:clrMapOvr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extLst>
              <a:ext uri="{96DAC541-7B7A-43D3-8B79-37D633B846F1}">
                <asvg:svgBlip xmlns="" xmlns:asvg="http://schemas.microsoft.com/office/drawing/2016/SVG/main" r:embed="rId17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672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611560" y="3284984"/>
            <a:ext cx="4248472" cy="432048"/>
          </a:xfrm>
        </p:spPr>
        <p:txBody>
          <a:bodyPr/>
          <a:lstStyle/>
          <a:p>
            <a:r>
              <a:rPr lang="en-US" sz="2400" b="1" dirty="0" smtClean="0">
                <a:solidFill>
                  <a:schemeClr val="tx2">
                    <a:lumMod val="75000"/>
                  </a:schemeClr>
                </a:solidFill>
              </a:rPr>
              <a:t>Kubernetes Lesson </a:t>
            </a:r>
            <a:r>
              <a:rPr lang="en-US" sz="2400" b="1" dirty="0">
                <a:solidFill>
                  <a:schemeClr val="tx2">
                    <a:lumMod val="75000"/>
                  </a:schemeClr>
                </a:solidFill>
              </a:rPr>
              <a:t>00</a:t>
            </a:r>
            <a:r>
              <a:rPr lang="en-US" sz="2400" dirty="0" smtClean="0">
                <a:solidFill>
                  <a:schemeClr val="tx2">
                    <a:lumMod val="75000"/>
                  </a:schemeClr>
                </a:solidFill>
              </a:rPr>
              <a:t>:</a:t>
            </a:r>
            <a:endParaRPr lang="en-US" sz="24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2578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eferenc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980729"/>
            <a:ext cx="5857660" cy="3744416"/>
          </a:xfrm>
        </p:spPr>
        <p:txBody>
          <a:bodyPr/>
          <a:lstStyle/>
          <a:p>
            <a:endParaRPr lang="en-US" dirty="0" smtClean="0"/>
          </a:p>
          <a:p>
            <a:r>
              <a:rPr lang="en-US" dirty="0" smtClean="0"/>
              <a:t>Websites: Official Documentation</a:t>
            </a:r>
            <a:endParaRPr lang="en-US" dirty="0"/>
          </a:p>
          <a:p>
            <a:r>
              <a:rPr lang="en-US" dirty="0"/>
              <a:t>https://kubernetes.io/docs/home/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Next Step Cours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494767"/>
            <a:ext cx="4921556" cy="2726322"/>
          </a:xfrm>
        </p:spPr>
        <p:txBody>
          <a:bodyPr/>
          <a:lstStyle/>
          <a:p>
            <a:endParaRPr lang="en-US" dirty="0" smtClean="0"/>
          </a:p>
          <a:p>
            <a:r>
              <a:rPr lang="en-US" dirty="0" smtClean="0"/>
              <a:t>Use  Kubernetes With AWS</a:t>
            </a:r>
          </a:p>
          <a:p>
            <a:r>
              <a:rPr lang="en-US" dirty="0" smtClean="0"/>
              <a:t>Use Kubernetes with GCP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9801" y="398788"/>
            <a:ext cx="8312649" cy="859536"/>
          </a:xfrm>
        </p:spPr>
        <p:txBody>
          <a:bodyPr>
            <a:normAutofit/>
          </a:bodyPr>
          <a:lstStyle/>
          <a:p>
            <a:r>
              <a:rPr lang="en-US" dirty="0" smtClean="0"/>
              <a:t>Document History</a:t>
            </a:r>
            <a:endParaRPr lang="en-US" sz="2400" dirty="0"/>
          </a:p>
        </p:txBody>
      </p:sp>
      <p:graphicFrame>
        <p:nvGraphicFramePr>
          <p:cNvPr id="5" name="Group 5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92244535"/>
              </p:ext>
            </p:extLst>
          </p:nvPr>
        </p:nvGraphicFramePr>
        <p:xfrm>
          <a:off x="683568" y="2204864"/>
          <a:ext cx="7873952" cy="2160240"/>
        </p:xfrm>
        <a:graphic>
          <a:graphicData uri="http://schemas.openxmlformats.org/drawingml/2006/table">
            <a:tbl>
              <a:tblPr/>
              <a:tblGrid>
                <a:gridCol w="6993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101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914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1258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6672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396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55406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00811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ate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urse Version No.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oftware Version No.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veloper / SME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iewer(s)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pprover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 Record Remarks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5212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an-21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aishali Srivastava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ahul Vikas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ew Course created for AWS and GCP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9801" y="418452"/>
            <a:ext cx="6566455" cy="418260"/>
          </a:xfrm>
        </p:spPr>
        <p:txBody>
          <a:bodyPr>
            <a:normAutofit/>
          </a:bodyPr>
          <a:lstStyle/>
          <a:p>
            <a:r>
              <a:rPr lang="en-US" sz="2400" dirty="0" smtClean="0"/>
              <a:t>Course Goals and Non Goal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98516" y="1628801"/>
            <a:ext cx="6505732" cy="2592288"/>
          </a:xfrm>
        </p:spPr>
        <p:txBody>
          <a:bodyPr/>
          <a:lstStyle/>
          <a:p>
            <a:pPr>
              <a:buFont typeface="Wingdings" pitchFamily="2" charset="2"/>
              <a:buChar char="Ø"/>
            </a:pPr>
            <a:endParaRPr lang="en-US" dirty="0" smtClean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Course Goals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Learn about Kubernetes and its architecture to use in cloud environmen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9801" y="418452"/>
            <a:ext cx="4910271" cy="418260"/>
          </a:xfrm>
        </p:spPr>
        <p:txBody>
          <a:bodyPr>
            <a:normAutofit/>
          </a:bodyPr>
          <a:lstStyle/>
          <a:p>
            <a:r>
              <a:rPr lang="en-US" sz="2400" b="1" dirty="0" smtClean="0"/>
              <a:t>Pre-requisites</a:t>
            </a:r>
            <a:endParaRPr lang="en-US" sz="2400" b="1" dirty="0"/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695692670"/>
              </p:ext>
            </p:extLst>
          </p:nvPr>
        </p:nvGraphicFramePr>
        <p:xfrm>
          <a:off x="827584" y="1196752"/>
          <a:ext cx="6096000" cy="40746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9801" y="401674"/>
            <a:ext cx="5990391" cy="435038"/>
          </a:xfrm>
        </p:spPr>
        <p:txBody>
          <a:bodyPr>
            <a:normAutofit/>
          </a:bodyPr>
          <a:lstStyle/>
          <a:p>
            <a:r>
              <a:rPr lang="en-US" sz="2400" b="1" dirty="0" smtClean="0"/>
              <a:t>Intended Audience</a:t>
            </a:r>
            <a:endParaRPr lang="en-US" sz="2400" b="1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836713"/>
            <a:ext cx="6793764" cy="4536504"/>
          </a:xfrm>
        </p:spPr>
        <p:txBody>
          <a:bodyPr/>
          <a:lstStyle/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Developers new to  Kubernetes</a:t>
            </a:r>
            <a:endParaRPr lang="en-US" dirty="0"/>
          </a:p>
          <a:p>
            <a:endParaRPr lang="en-US" dirty="0"/>
          </a:p>
        </p:txBody>
      </p:sp>
      <p:pic>
        <p:nvPicPr>
          <p:cNvPr id="4" name="Picture 1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355976" y="1696248"/>
            <a:ext cx="1000125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9801" y="418452"/>
            <a:ext cx="6854487" cy="490268"/>
          </a:xfrm>
        </p:spPr>
        <p:txBody>
          <a:bodyPr>
            <a:normAutofit/>
          </a:bodyPr>
          <a:lstStyle/>
          <a:p>
            <a:r>
              <a:rPr lang="en-US" b="1" dirty="0" smtClean="0"/>
              <a:t>Day Wise Schedule</a:t>
            </a:r>
            <a:endParaRPr lang="en-US" sz="2400" b="1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67544" y="1052736"/>
            <a:ext cx="6624736" cy="4176464"/>
          </a:xfrm>
        </p:spPr>
        <p:txBody>
          <a:bodyPr/>
          <a:lstStyle/>
          <a:p>
            <a:endParaRPr lang="en-US" dirty="0" smtClean="0"/>
          </a:p>
          <a:p>
            <a:r>
              <a:rPr lang="en-US" sz="1600" dirty="0" smtClean="0"/>
              <a:t>Day </a:t>
            </a:r>
            <a:r>
              <a:rPr lang="en-US" sz="1600" dirty="0"/>
              <a:t>1</a:t>
            </a:r>
          </a:p>
          <a:p>
            <a:pPr lvl="2"/>
            <a:r>
              <a:rPr lang="en-US" sz="1600" dirty="0"/>
              <a:t>Lesson 1</a:t>
            </a:r>
            <a:r>
              <a:rPr lang="en-US" sz="1600" dirty="0" smtClean="0"/>
              <a:t>: </a:t>
            </a:r>
            <a:r>
              <a:rPr lang="en-US" sz="1600" dirty="0"/>
              <a:t>Introduction of  </a:t>
            </a:r>
            <a:r>
              <a:rPr lang="en-US" sz="1600" dirty="0" smtClean="0"/>
              <a:t>Kubernetes</a:t>
            </a:r>
          </a:p>
          <a:p>
            <a:pPr lvl="2"/>
            <a:r>
              <a:rPr lang="en-US" sz="1600" dirty="0" smtClean="0"/>
              <a:t>Lesson </a:t>
            </a:r>
            <a:r>
              <a:rPr lang="en-US" sz="1600" dirty="0"/>
              <a:t>2: </a:t>
            </a:r>
            <a:r>
              <a:rPr lang="en-US" sz="1600" dirty="0"/>
              <a:t>Kubernetes </a:t>
            </a:r>
            <a:r>
              <a:rPr lang="en-US" sz="1600" dirty="0" smtClean="0"/>
              <a:t>Architecture</a:t>
            </a:r>
          </a:p>
          <a:p>
            <a:pPr lvl="2"/>
            <a:r>
              <a:rPr lang="en-US" sz="1600" dirty="0" smtClean="0"/>
              <a:t>Lesson 3: </a:t>
            </a:r>
            <a:r>
              <a:rPr lang="en-US" sz="1600" dirty="0" smtClean="0"/>
              <a:t>Getting Kubernetes</a:t>
            </a:r>
          </a:p>
          <a:p>
            <a:pPr lvl="2"/>
            <a:r>
              <a:rPr lang="en-US" sz="1600" dirty="0" smtClean="0"/>
              <a:t>Lesson 4: Working With Pods</a:t>
            </a:r>
            <a:endParaRPr lang="en-IN" sz="1600" dirty="0"/>
          </a:p>
          <a:p>
            <a:r>
              <a:rPr lang="en-US" sz="1600" dirty="0" smtClean="0"/>
              <a:t>Day </a:t>
            </a:r>
            <a:r>
              <a:rPr lang="en-US" sz="1600" dirty="0" smtClean="0"/>
              <a:t>2</a:t>
            </a:r>
          </a:p>
          <a:p>
            <a:pPr marL="460772" lvl="1" indent="-285750"/>
            <a:r>
              <a:rPr lang="en-US" dirty="0" smtClean="0"/>
              <a:t>Lesson </a:t>
            </a:r>
            <a:r>
              <a:rPr lang="en-US" dirty="0" smtClean="0"/>
              <a:t>5: Kubernetes Deployment</a:t>
            </a:r>
            <a:endParaRPr lang="en-US" dirty="0" smtClean="0"/>
          </a:p>
          <a:p>
            <a:pPr lvl="2"/>
            <a:r>
              <a:rPr lang="en-US" sz="1600" dirty="0"/>
              <a:t>Lesson </a:t>
            </a:r>
            <a:r>
              <a:rPr lang="en-US" sz="1600" dirty="0" smtClean="0"/>
              <a:t>6: Cluster IP Services</a:t>
            </a:r>
            <a:endParaRPr lang="en-US" sz="1600" dirty="0"/>
          </a:p>
          <a:p>
            <a:r>
              <a:rPr lang="en-US" sz="1600" dirty="0" smtClean="0"/>
              <a:t>Day 3</a:t>
            </a:r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/>
              <a:t>Lesson </a:t>
            </a:r>
            <a:r>
              <a:rPr lang="en-US" dirty="0" smtClean="0"/>
              <a:t>7: Helm Packager Manager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490268"/>
          </a:xfrm>
        </p:spPr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908720"/>
            <a:ext cx="7081796" cy="5229797"/>
          </a:xfrm>
        </p:spPr>
        <p:txBody>
          <a:bodyPr/>
          <a:lstStyle/>
          <a:p>
            <a:endParaRPr lang="en-US" sz="1600" dirty="0" smtClean="0"/>
          </a:p>
          <a:p>
            <a:pPr marL="171450" lvl="2" indent="0">
              <a:buNone/>
            </a:pPr>
            <a:r>
              <a:rPr lang="en-US" sz="1800" dirty="0" smtClean="0"/>
              <a:t>Lesson 1: </a:t>
            </a:r>
            <a:r>
              <a:rPr lang="en-US" sz="1800" dirty="0"/>
              <a:t>Introduction of  </a:t>
            </a:r>
            <a:r>
              <a:rPr lang="en-US" sz="1800" dirty="0" smtClean="0"/>
              <a:t>Kubernetes</a:t>
            </a:r>
            <a:endParaRPr lang="en-US" sz="1800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What </a:t>
            </a:r>
            <a:r>
              <a:rPr lang="en-US" dirty="0"/>
              <a:t>Is Kubernetes?</a:t>
            </a:r>
            <a:endParaRPr lang="en-IN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/>
              <a:t>Kubernetes What and Why</a:t>
            </a:r>
            <a:endParaRPr lang="en-IN" dirty="0"/>
          </a:p>
          <a:p>
            <a:endParaRPr lang="en-US" dirty="0"/>
          </a:p>
          <a:p>
            <a:pPr lvl="0"/>
            <a:r>
              <a:rPr lang="en-US" dirty="0" smtClean="0"/>
              <a:t>  Lesson </a:t>
            </a:r>
            <a:r>
              <a:rPr lang="en-US" dirty="0" smtClean="0"/>
              <a:t>2: </a:t>
            </a:r>
            <a:r>
              <a:rPr lang="en-US" dirty="0"/>
              <a:t>Kubernetes Architecture</a:t>
            </a:r>
            <a:endParaRPr lang="en-IN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/>
              <a:t>Module Overview</a:t>
            </a:r>
            <a:endParaRPr lang="en-IN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/>
              <a:t>Kubernetes Big Picture View</a:t>
            </a:r>
            <a:endParaRPr lang="en-IN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/>
              <a:t>Kubernetes Masters</a:t>
            </a:r>
            <a:endParaRPr lang="en-IN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/>
              <a:t>Kubernetes Nodes</a:t>
            </a:r>
            <a:endParaRPr lang="en-IN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/>
              <a:t>The Declarative Model and Desired State</a:t>
            </a:r>
            <a:endParaRPr lang="en-IN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/>
              <a:t>Kubernetes Pods</a:t>
            </a:r>
            <a:endParaRPr lang="en-IN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/>
              <a:t>Stable Networking with Kubernetes Services</a:t>
            </a:r>
            <a:endParaRPr lang="en-IN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/>
              <a:t>Game Changing Deployments</a:t>
            </a:r>
            <a:endParaRPr lang="en-IN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/>
              <a:t>The Kubernetes API and API Server</a:t>
            </a:r>
            <a:endParaRPr lang="en-IN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/>
              <a:t>Api Server</a:t>
            </a:r>
            <a:endParaRPr lang="en-IN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/>
              <a:t>Scheduler</a:t>
            </a:r>
            <a:endParaRPr lang="en-IN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/>
              <a:t>Controller Manager</a:t>
            </a:r>
            <a:endParaRPr lang="en-IN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 err="1"/>
              <a:t>etcd</a:t>
            </a:r>
            <a:r>
              <a:rPr lang="en-US" dirty="0"/>
              <a:t> - the cluster brain</a:t>
            </a:r>
            <a:endParaRPr lang="en-IN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0200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490268"/>
          </a:xfrm>
        </p:spPr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908720"/>
            <a:ext cx="7081796" cy="5229797"/>
          </a:xfrm>
        </p:spPr>
        <p:txBody>
          <a:bodyPr/>
          <a:lstStyle/>
          <a:p>
            <a:endParaRPr lang="en-US" sz="1600" dirty="0" smtClean="0"/>
          </a:p>
          <a:p>
            <a:pPr marL="171450" lvl="2" indent="0">
              <a:buNone/>
            </a:pPr>
            <a:r>
              <a:rPr lang="en-US" sz="1800" dirty="0" smtClean="0"/>
              <a:t>Lesson </a:t>
            </a:r>
            <a:r>
              <a:rPr lang="en-US" sz="1800" dirty="0" smtClean="0"/>
              <a:t>3: </a:t>
            </a:r>
            <a:r>
              <a:rPr lang="en-US" sz="1800" dirty="0"/>
              <a:t>Getting Kubectl-Installation</a:t>
            </a:r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/>
              <a:t>Module Overview</a:t>
            </a:r>
            <a:endParaRPr lang="en-IN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/>
              <a:t>Getting kubectl</a:t>
            </a:r>
            <a:endParaRPr lang="en-IN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/>
              <a:t>Getting K8s in the Cloud</a:t>
            </a:r>
            <a:endParaRPr lang="en-IN" dirty="0"/>
          </a:p>
          <a:p>
            <a:endParaRPr lang="en-US" dirty="0"/>
          </a:p>
          <a:p>
            <a:pPr lvl="0"/>
            <a:r>
              <a:rPr lang="en-US" dirty="0" smtClean="0"/>
              <a:t> Lesson 4: </a:t>
            </a:r>
            <a:r>
              <a:rPr lang="en-US" dirty="0"/>
              <a:t>Working With PODS.</a:t>
            </a:r>
            <a:endParaRPr lang="en-IN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/>
              <a:t>Module Overview</a:t>
            </a:r>
            <a:endParaRPr lang="en-IN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/>
              <a:t>App Deployment Workflow</a:t>
            </a:r>
            <a:endParaRPr lang="en-IN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/>
              <a:t>Creating a Pod Manifest</a:t>
            </a:r>
            <a:endParaRPr lang="en-IN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/>
              <a:t>Deploying a Pod</a:t>
            </a:r>
            <a:endParaRPr lang="en-IN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/>
              <a:t> Deployment vs </a:t>
            </a:r>
            <a:r>
              <a:rPr lang="en-US" dirty="0" err="1"/>
              <a:t>StatefulSet</a:t>
            </a:r>
            <a:endParaRPr lang="en-IN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/>
              <a:t>Pod Identity</a:t>
            </a:r>
            <a:endParaRPr lang="en-IN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/>
              <a:t>Scaling database applications: Master and Worker Pods</a:t>
            </a:r>
            <a:endParaRPr lang="en-IN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/>
              <a:t>Pod state, Pod Identifier</a:t>
            </a:r>
            <a:endParaRPr lang="en-IN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/>
              <a:t>2 Pod endpoints</a:t>
            </a:r>
            <a:endParaRPr lang="en-IN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8971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490268"/>
          </a:xfrm>
        </p:spPr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908720"/>
            <a:ext cx="7081796" cy="5760640"/>
          </a:xfrm>
        </p:spPr>
        <p:txBody>
          <a:bodyPr/>
          <a:lstStyle/>
          <a:p>
            <a:endParaRPr lang="en-US" sz="1600" dirty="0" smtClean="0"/>
          </a:p>
          <a:p>
            <a:pPr marL="171450" lvl="2" indent="0">
              <a:buNone/>
            </a:pPr>
            <a:r>
              <a:rPr lang="en-US" sz="1800" dirty="0" smtClean="0"/>
              <a:t>Lesson </a:t>
            </a:r>
            <a:r>
              <a:rPr lang="en-US" sz="1800" dirty="0" smtClean="0"/>
              <a:t>5: </a:t>
            </a:r>
            <a:r>
              <a:rPr lang="en-US" sz="1800" dirty="0" smtClean="0"/>
              <a:t>Kubernetes Deployment</a:t>
            </a:r>
            <a:endParaRPr lang="en-US" sz="1800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/>
              <a:t>Module Overview</a:t>
            </a:r>
            <a:endParaRPr lang="en-IN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/>
              <a:t>Kubernetes Deployment Theory</a:t>
            </a:r>
            <a:endParaRPr lang="en-IN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/>
              <a:t>Creating a Deployment YAML</a:t>
            </a:r>
            <a:endParaRPr lang="en-IN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/>
              <a:t>Deploying a Deployment</a:t>
            </a:r>
            <a:endParaRPr lang="en-IN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/>
              <a:t>Self-healing and Scaling</a:t>
            </a:r>
            <a:endParaRPr lang="en-IN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/>
              <a:t>Rolling Updates and Rollbacks</a:t>
            </a:r>
            <a:endParaRPr lang="en-IN" dirty="0"/>
          </a:p>
          <a:p>
            <a:endParaRPr lang="en-US" dirty="0"/>
          </a:p>
          <a:p>
            <a:pPr lvl="0"/>
            <a:r>
              <a:rPr lang="en-US" dirty="0" smtClean="0"/>
              <a:t>  Lesson 6: </a:t>
            </a:r>
            <a:r>
              <a:rPr lang="en-US" dirty="0" smtClean="0"/>
              <a:t>Cluster IP services.</a:t>
            </a:r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Service </a:t>
            </a:r>
            <a:r>
              <a:rPr lang="en-US" dirty="0"/>
              <a:t>Communication</a:t>
            </a:r>
            <a:endParaRPr lang="en-IN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/>
              <a:t>Multi-Port Services</a:t>
            </a:r>
            <a:endParaRPr lang="en-IN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/>
              <a:t>Headless Services</a:t>
            </a:r>
            <a:endParaRPr lang="en-IN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 err="1"/>
              <a:t>NodePort</a:t>
            </a:r>
            <a:r>
              <a:rPr lang="en-US" dirty="0"/>
              <a:t> Services</a:t>
            </a:r>
            <a:endParaRPr lang="en-IN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 err="1"/>
              <a:t>LoadBalancer</a:t>
            </a:r>
            <a:r>
              <a:rPr lang="en-US" dirty="0"/>
              <a:t> </a:t>
            </a:r>
            <a:r>
              <a:rPr lang="en-US" dirty="0" smtClean="0"/>
              <a:t>Services</a:t>
            </a:r>
          </a:p>
          <a:p>
            <a:pPr marL="460772" lvl="1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lvl="0"/>
            <a:r>
              <a:rPr lang="en-US" dirty="0" smtClean="0"/>
              <a:t> Lesson </a:t>
            </a:r>
            <a:r>
              <a:rPr lang="en-US" dirty="0"/>
              <a:t>6: Cluster IP services</a:t>
            </a:r>
            <a:r>
              <a:rPr lang="en-US" dirty="0" smtClean="0"/>
              <a:t>.</a:t>
            </a:r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/>
              <a:t>Package Manager and Helm Charts</a:t>
            </a:r>
            <a:endParaRPr lang="en-IN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/>
              <a:t>Templating Engine</a:t>
            </a:r>
            <a:endParaRPr lang="en-IN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/>
              <a:t>Use Cases for Helm</a:t>
            </a:r>
            <a:endParaRPr lang="en-IN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/>
              <a:t>Helm Chart Structure</a:t>
            </a:r>
            <a:endParaRPr lang="en-IN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/>
              <a:t>Values injection into template files</a:t>
            </a:r>
            <a:endParaRPr lang="en-IN" dirty="0"/>
          </a:p>
          <a:p>
            <a:pPr lvl="0"/>
            <a:endParaRPr lang="en-US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endParaRPr lang="en-IN" dirty="0"/>
          </a:p>
          <a:p>
            <a:pPr lvl="0"/>
            <a:endParaRPr lang="en-IN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4470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format [Read-Only]" id="{3F39FC77-78A4-42E0-8877-CB89A3A885F5}" vid="{863634A9-CC01-474D-9CF3-F3EB4EAFFFA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DCDateModified xmlns="http://schemas.microsoft.com/sharepoint/v3/fields" xsi:nil="true"/>
    <Material_x0020_Type xmlns="26bed2a0-a239-4228-bd8e-b46f54fc12da">Class book</Material_x0020_Type>
    <Category xmlns="26bed2a0-a239-4228-bd8e-b46f54fc12da">Module Artifact</Category>
    <Level xmlns="26bed2a0-a239-4228-bd8e-b46f54fc12da">L1</Leve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4F797F9BD2124B9B89E1787624A7F8" ma:contentTypeVersion="12" ma:contentTypeDescription="Create a new document." ma:contentTypeScope="" ma:versionID="db045e7d1992db9cfc8b663ee4dda2d2">
  <xsd:schema xmlns:xsd="http://www.w3.org/2001/XMLSchema" xmlns:xs="http://www.w3.org/2001/XMLSchema" xmlns:p="http://schemas.microsoft.com/office/2006/metadata/properties" xmlns:ns2="http://schemas.microsoft.com/sharepoint/v3/fields" xmlns:ns3="26bed2a0-a239-4228-bd8e-b46f54fc12da" targetNamespace="http://schemas.microsoft.com/office/2006/metadata/properties" ma:root="true" ma:fieldsID="a2bd43f3c01a0467341ff5ba4dd99e21" ns2:_="" ns3:_="">
    <xsd:import namespace="http://schemas.microsoft.com/sharepoint/v3/fields"/>
    <xsd:import namespace="26bed2a0-a239-4228-bd8e-b46f54fc12da"/>
    <xsd:element name="properties">
      <xsd:complexType>
        <xsd:sequence>
          <xsd:element name="documentManagement">
            <xsd:complexType>
              <xsd:all>
                <xsd:element ref="ns2:_Version" minOccurs="0"/>
                <xsd:element ref="ns3:Level"/>
                <xsd:element ref="ns3:Category"/>
                <xsd:element ref="ns2:_DCDateModified" minOccurs="0"/>
                <xsd:element ref="ns3:Material_x0020_Type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8" nillable="true" ma:displayName="Version" ma:internalName="_Version">
      <xsd:simpleType>
        <xsd:restriction base="dms:Text"/>
      </xsd:simpleType>
    </xsd:element>
    <xsd:element name="_DCDateModified" ma:index="11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bed2a0-a239-4228-bd8e-b46f54fc12da" elementFormDefault="qualified">
    <xsd:import namespace="http://schemas.microsoft.com/office/2006/documentManagement/types"/>
    <xsd:import namespace="http://schemas.microsoft.com/office/infopath/2007/PartnerControls"/>
    <xsd:element name="Level" ma:index="9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63433B7-998A-4D4C-91CD-BC966B06FCAD}">
  <ds:schemaRefs>
    <ds:schemaRef ds:uri="http://schemas.microsoft.com/office/2006/metadata/properties"/>
    <ds:schemaRef ds:uri="http://schemas.microsoft.com/office/infopath/2007/PartnerControls"/>
    <ds:schemaRef ds:uri="f9b258c7-9c72-463b-80f6-91d061ebb25d"/>
    <ds:schemaRef ds:uri="http://schemas.microsoft.com/sharepoint/v3/fields"/>
    <ds:schemaRef ds:uri="26bed2a0-a239-4228-bd8e-b46f54fc12da"/>
  </ds:schemaRefs>
</ds:datastoreItem>
</file>

<file path=customXml/itemProps2.xml><?xml version="1.0" encoding="utf-8"?>
<ds:datastoreItem xmlns:ds="http://schemas.openxmlformats.org/officeDocument/2006/customXml" ds:itemID="{211A7206-6710-4B85-AAD9-BD2B9ED588E4}"/>
</file>

<file path=customXml/itemProps3.xml><?xml version="1.0" encoding="utf-8"?>
<ds:datastoreItem xmlns:ds="http://schemas.openxmlformats.org/officeDocument/2006/customXml" ds:itemID="{E6D7665F-8C87-49F1-94B0-6D13FB5E127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016</TotalTime>
  <Words>331</Words>
  <Application>Microsoft Office PowerPoint</Application>
  <PresentationFormat>On-screen Show (4:3)</PresentationFormat>
  <Paragraphs>114</Paragraphs>
  <Slides>11</Slides>
  <Notes>10</Notes>
  <HiddenSlides>1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Calibri</vt:lpstr>
      <vt:lpstr>Verdana</vt:lpstr>
      <vt:lpstr>Wingdings</vt:lpstr>
      <vt:lpstr>Section slides</vt:lpstr>
      <vt:lpstr>think-cell Slide</vt:lpstr>
      <vt:lpstr>Kubernetes Lesson 00:</vt:lpstr>
      <vt:lpstr>Document History</vt:lpstr>
      <vt:lpstr>Course Goals and Non Goals</vt:lpstr>
      <vt:lpstr>Pre-requisites</vt:lpstr>
      <vt:lpstr>Intended Audience</vt:lpstr>
      <vt:lpstr>Day Wise Schedule</vt:lpstr>
      <vt:lpstr>Table of Contents </vt:lpstr>
      <vt:lpstr>Table of Contents </vt:lpstr>
      <vt:lpstr>Table of Contents </vt:lpstr>
      <vt:lpstr>References</vt:lpstr>
      <vt:lpstr>Next Step Cours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assBook-Lesson0-Template IGATE</dc:title>
  <dc:creator>vs823751</dc:creator>
  <cp:lastModifiedBy>Srivastava, Vaishali</cp:lastModifiedBy>
  <cp:revision>330</cp:revision>
  <cp:lastPrinted>2016-07-11T08:01:24Z</cp:lastPrinted>
  <dcterms:created xsi:type="dcterms:W3CDTF">2014-04-28T11:21:39Z</dcterms:created>
  <dcterms:modified xsi:type="dcterms:W3CDTF">2021-03-07T12:31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64F797F9BD2124B9B89E1787624A7F8</vt:lpwstr>
  </property>
</Properties>
</file>